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7" r:id="rId2"/>
    <p:sldId id="2147471727" r:id="rId3"/>
    <p:sldId id="2147471728" r:id="rId4"/>
    <p:sldId id="2147471716" r:id="rId5"/>
    <p:sldId id="2147471730" r:id="rId6"/>
    <p:sldId id="2147471722" r:id="rId7"/>
    <p:sldId id="272" r:id="rId8"/>
    <p:sldId id="271" r:id="rId9"/>
    <p:sldId id="270" r:id="rId10"/>
    <p:sldId id="2147471731" r:id="rId11"/>
    <p:sldId id="2147471714" r:id="rId12"/>
    <p:sldId id="2147471717" r:id="rId13"/>
    <p:sldId id="2147471724" r:id="rId14"/>
    <p:sldId id="2147471715" r:id="rId15"/>
    <p:sldId id="268" r:id="rId16"/>
  </p:sldIdLst>
  <p:sldSz cx="9144000" cy="5143500" type="screen16x9"/>
  <p:notesSz cx="6858000" cy="9144000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1F6B"/>
    <a:srgbClr val="F7472A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E6D2F0-DC8E-44E5-B28E-4F6CEDB7FE26}" v="42" dt="2024-09-26T06:43:51.743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3" autoAdjust="0"/>
    <p:restoredTop sz="94628" autoAdjust="0"/>
  </p:normalViewPr>
  <p:slideViewPr>
    <p:cSldViewPr snapToGrid="0">
      <p:cViewPr>
        <p:scale>
          <a:sx n="125" d="100"/>
          <a:sy n="125" d="100"/>
        </p:scale>
        <p:origin x="254" y="72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js Oosterhuis" userId="7a578899-10db-4d57-a4ac-a21f5e7bc327" providerId="ADAL" clId="{4AE6D2F0-DC8E-44E5-B28E-4F6CEDB7FE26}"/>
    <pc:docChg chg="undo redo custSel addSld delSld modSld sldOrd">
      <pc:chgData name="Thijs Oosterhuis" userId="7a578899-10db-4d57-a4ac-a21f5e7bc327" providerId="ADAL" clId="{4AE6D2F0-DC8E-44E5-B28E-4F6CEDB7FE26}" dt="2024-09-26T06:53:34.673" v="2070" actId="113"/>
      <pc:docMkLst>
        <pc:docMk/>
      </pc:docMkLst>
      <pc:sldChg chg="modSp mod">
        <pc:chgData name="Thijs Oosterhuis" userId="7a578899-10db-4d57-a4ac-a21f5e7bc327" providerId="ADAL" clId="{4AE6D2F0-DC8E-44E5-B28E-4F6CEDB7FE26}" dt="2024-09-25T19:22:13.036" v="878" actId="1076"/>
        <pc:sldMkLst>
          <pc:docMk/>
          <pc:sldMk cId="3434545749" sldId="257"/>
        </pc:sldMkLst>
        <pc:spChg chg="mod">
          <ac:chgData name="Thijs Oosterhuis" userId="7a578899-10db-4d57-a4ac-a21f5e7bc327" providerId="ADAL" clId="{4AE6D2F0-DC8E-44E5-B28E-4F6CEDB7FE26}" dt="2024-09-25T19:22:01.802" v="877" actId="20577"/>
          <ac:spMkLst>
            <pc:docMk/>
            <pc:sldMk cId="3434545749" sldId="257"/>
            <ac:spMk id="6" creationId="{00000000-0000-0000-0000-000000000000}"/>
          </ac:spMkLst>
        </pc:spChg>
        <pc:spChg chg="mod">
          <ac:chgData name="Thijs Oosterhuis" userId="7a578899-10db-4d57-a4ac-a21f5e7bc327" providerId="ADAL" clId="{4AE6D2F0-DC8E-44E5-B28E-4F6CEDB7FE26}" dt="2024-09-25T19:22:13.036" v="878" actId="1076"/>
          <ac:spMkLst>
            <pc:docMk/>
            <pc:sldMk cId="3434545749" sldId="257"/>
            <ac:spMk id="7" creationId="{00000000-0000-0000-0000-000000000000}"/>
          </ac:spMkLst>
        </pc:spChg>
      </pc:sldChg>
      <pc:sldChg chg="modSp mod ord">
        <pc:chgData name="Thijs Oosterhuis" userId="7a578899-10db-4d57-a4ac-a21f5e7bc327" providerId="ADAL" clId="{4AE6D2F0-DC8E-44E5-B28E-4F6CEDB7FE26}" dt="2024-09-25T11:38:16.368" v="20" actId="1076"/>
        <pc:sldMkLst>
          <pc:docMk/>
          <pc:sldMk cId="2215957502" sldId="270"/>
        </pc:sldMkLst>
        <pc:picChg chg="mod">
          <ac:chgData name="Thijs Oosterhuis" userId="7a578899-10db-4d57-a4ac-a21f5e7bc327" providerId="ADAL" clId="{4AE6D2F0-DC8E-44E5-B28E-4F6CEDB7FE26}" dt="2024-09-25T11:38:16.368" v="20" actId="1076"/>
          <ac:picMkLst>
            <pc:docMk/>
            <pc:sldMk cId="2215957502" sldId="270"/>
            <ac:picMk id="7" creationId="{A47E4C65-6D61-78F4-7DC8-55D48AD6586F}"/>
          </ac:picMkLst>
        </pc:picChg>
      </pc:sldChg>
      <pc:sldChg chg="modSp mod ord">
        <pc:chgData name="Thijs Oosterhuis" userId="7a578899-10db-4d57-a4ac-a21f5e7bc327" providerId="ADAL" clId="{4AE6D2F0-DC8E-44E5-B28E-4F6CEDB7FE26}" dt="2024-09-25T12:14:02.566" v="531" actId="20577"/>
        <pc:sldMkLst>
          <pc:docMk/>
          <pc:sldMk cId="3850271385" sldId="271"/>
        </pc:sldMkLst>
        <pc:spChg chg="mod">
          <ac:chgData name="Thijs Oosterhuis" userId="7a578899-10db-4d57-a4ac-a21f5e7bc327" providerId="ADAL" clId="{4AE6D2F0-DC8E-44E5-B28E-4F6CEDB7FE26}" dt="2024-09-25T12:14:02.566" v="531" actId="20577"/>
          <ac:spMkLst>
            <pc:docMk/>
            <pc:sldMk cId="3850271385" sldId="271"/>
            <ac:spMk id="3" creationId="{3F12C61C-D37A-4F79-87A9-88CF0882879D}"/>
          </ac:spMkLst>
        </pc:spChg>
      </pc:sldChg>
      <pc:sldChg chg="addSp delSp modSp mod ord">
        <pc:chgData name="Thijs Oosterhuis" userId="7a578899-10db-4d57-a4ac-a21f5e7bc327" providerId="ADAL" clId="{4AE6D2F0-DC8E-44E5-B28E-4F6CEDB7FE26}" dt="2024-09-26T06:43:51.736" v="2042" actId="1076"/>
        <pc:sldMkLst>
          <pc:docMk/>
          <pc:sldMk cId="1074066283" sldId="272"/>
        </pc:sldMkLst>
        <pc:spChg chg="del mod">
          <ac:chgData name="Thijs Oosterhuis" userId="7a578899-10db-4d57-a4ac-a21f5e7bc327" providerId="ADAL" clId="{4AE6D2F0-DC8E-44E5-B28E-4F6CEDB7FE26}" dt="2024-09-26T06:43:27.336" v="2038" actId="478"/>
          <ac:spMkLst>
            <pc:docMk/>
            <pc:sldMk cId="1074066283" sldId="272"/>
            <ac:spMk id="3" creationId="{54B00E3C-2509-4D55-912C-6B708EBB1A67}"/>
          </ac:spMkLst>
        </pc:spChg>
        <pc:spChg chg="mod">
          <ac:chgData name="Thijs Oosterhuis" userId="7a578899-10db-4d57-a4ac-a21f5e7bc327" providerId="ADAL" clId="{4AE6D2F0-DC8E-44E5-B28E-4F6CEDB7FE26}" dt="2024-09-26T06:43:07.429" v="2032" actId="20577"/>
          <ac:spMkLst>
            <pc:docMk/>
            <pc:sldMk cId="1074066283" sldId="272"/>
            <ac:spMk id="4" creationId="{9FD2CAD8-D6AA-4A29-AD78-A60402756FB5}"/>
          </ac:spMkLst>
        </pc:spChg>
        <pc:picChg chg="add mod">
          <ac:chgData name="Thijs Oosterhuis" userId="7a578899-10db-4d57-a4ac-a21f5e7bc327" providerId="ADAL" clId="{4AE6D2F0-DC8E-44E5-B28E-4F6CEDB7FE26}" dt="2024-09-26T06:43:33.668" v="2040" actId="1076"/>
          <ac:picMkLst>
            <pc:docMk/>
            <pc:sldMk cId="1074066283" sldId="272"/>
            <ac:picMk id="6" creationId="{6A175566-1C25-F9D3-59BF-7F7BBA2BFA36}"/>
          </ac:picMkLst>
        </pc:picChg>
        <pc:picChg chg="del">
          <ac:chgData name="Thijs Oosterhuis" userId="7a578899-10db-4d57-a4ac-a21f5e7bc327" providerId="ADAL" clId="{4AE6D2F0-DC8E-44E5-B28E-4F6CEDB7FE26}" dt="2024-09-26T06:40:59.408" v="2000" actId="478"/>
          <ac:picMkLst>
            <pc:docMk/>
            <pc:sldMk cId="1074066283" sldId="272"/>
            <ac:picMk id="9" creationId="{419CCC86-CDEB-5816-6806-C259A66C6D65}"/>
          </ac:picMkLst>
        </pc:picChg>
        <pc:picChg chg="mod">
          <ac:chgData name="Thijs Oosterhuis" userId="7a578899-10db-4d57-a4ac-a21f5e7bc327" providerId="ADAL" clId="{4AE6D2F0-DC8E-44E5-B28E-4F6CEDB7FE26}" dt="2024-09-26T06:43:47.481" v="2041" actId="1076"/>
          <ac:picMkLst>
            <pc:docMk/>
            <pc:sldMk cId="1074066283" sldId="272"/>
            <ac:picMk id="1028" creationId="{E489175B-EC8E-791C-78E9-624496BB68E1}"/>
          </ac:picMkLst>
        </pc:picChg>
        <pc:picChg chg="mod">
          <ac:chgData name="Thijs Oosterhuis" userId="7a578899-10db-4d57-a4ac-a21f5e7bc327" providerId="ADAL" clId="{4AE6D2F0-DC8E-44E5-B28E-4F6CEDB7FE26}" dt="2024-09-26T06:43:51.736" v="2042" actId="1076"/>
          <ac:picMkLst>
            <pc:docMk/>
            <pc:sldMk cId="1074066283" sldId="272"/>
            <ac:picMk id="1030" creationId="{0C81C8E9-0DA4-66B3-C537-4C4B836C3EB8}"/>
          </ac:picMkLst>
        </pc:picChg>
        <pc:picChg chg="add mod">
          <ac:chgData name="Thijs Oosterhuis" userId="7a578899-10db-4d57-a4ac-a21f5e7bc327" providerId="ADAL" clId="{4AE6D2F0-DC8E-44E5-B28E-4F6CEDB7FE26}" dt="2024-09-26T06:43:30.746" v="2039" actId="1076"/>
          <ac:picMkLst>
            <pc:docMk/>
            <pc:sldMk cId="1074066283" sldId="272"/>
            <ac:picMk id="3074" creationId="{71A72756-6354-BADB-8BB9-2E297A748EA3}"/>
          </ac:picMkLst>
        </pc:picChg>
      </pc:sldChg>
      <pc:sldChg chg="mod modShow">
        <pc:chgData name="Thijs Oosterhuis" userId="7a578899-10db-4d57-a4ac-a21f5e7bc327" providerId="ADAL" clId="{4AE6D2F0-DC8E-44E5-B28E-4F6CEDB7FE26}" dt="2024-09-25T19:48:54.760" v="1705" actId="729"/>
        <pc:sldMkLst>
          <pc:docMk/>
          <pc:sldMk cId="4165242244" sldId="2147471714"/>
        </pc:sldMkLst>
      </pc:sldChg>
      <pc:sldChg chg="mod modShow">
        <pc:chgData name="Thijs Oosterhuis" userId="7a578899-10db-4d57-a4ac-a21f5e7bc327" providerId="ADAL" clId="{4AE6D2F0-DC8E-44E5-B28E-4F6CEDB7FE26}" dt="2024-09-25T19:48:54.760" v="1705" actId="729"/>
        <pc:sldMkLst>
          <pc:docMk/>
          <pc:sldMk cId="1721640877" sldId="2147471715"/>
        </pc:sldMkLst>
      </pc:sldChg>
      <pc:sldChg chg="ord">
        <pc:chgData name="Thijs Oosterhuis" userId="7a578899-10db-4d57-a4ac-a21f5e7bc327" providerId="ADAL" clId="{4AE6D2F0-DC8E-44E5-B28E-4F6CEDB7FE26}" dt="2024-09-25T11:58:17.056" v="508"/>
        <pc:sldMkLst>
          <pc:docMk/>
          <pc:sldMk cId="3186556862" sldId="2147471716"/>
        </pc:sldMkLst>
      </pc:sldChg>
      <pc:sldChg chg="mod modShow">
        <pc:chgData name="Thijs Oosterhuis" userId="7a578899-10db-4d57-a4ac-a21f5e7bc327" providerId="ADAL" clId="{4AE6D2F0-DC8E-44E5-B28E-4F6CEDB7FE26}" dt="2024-09-25T19:48:54.760" v="1705" actId="729"/>
        <pc:sldMkLst>
          <pc:docMk/>
          <pc:sldMk cId="1496943007" sldId="2147471717"/>
        </pc:sldMkLst>
      </pc:sldChg>
      <pc:sldChg chg="modSp add del mod">
        <pc:chgData name="Thijs Oosterhuis" userId="7a578899-10db-4d57-a4ac-a21f5e7bc327" providerId="ADAL" clId="{4AE6D2F0-DC8E-44E5-B28E-4F6CEDB7FE26}" dt="2024-09-25T11:58:23.226" v="509" actId="47"/>
        <pc:sldMkLst>
          <pc:docMk/>
          <pc:sldMk cId="4085851872" sldId="2147471720"/>
        </pc:sldMkLst>
        <pc:picChg chg="mod">
          <ac:chgData name="Thijs Oosterhuis" userId="7a578899-10db-4d57-a4ac-a21f5e7bc327" providerId="ADAL" clId="{4AE6D2F0-DC8E-44E5-B28E-4F6CEDB7FE26}" dt="2024-09-25T11:41:38.293" v="125" actId="1076"/>
          <ac:picMkLst>
            <pc:docMk/>
            <pc:sldMk cId="4085851872" sldId="2147471720"/>
            <ac:picMk id="6" creationId="{997517DF-A444-9C83-455D-E4B52C98AC49}"/>
          </ac:picMkLst>
        </pc:picChg>
      </pc:sldChg>
      <pc:sldChg chg="addSp delSp modSp mod ord modClrScheme chgLayout">
        <pc:chgData name="Thijs Oosterhuis" userId="7a578899-10db-4d57-a4ac-a21f5e7bc327" providerId="ADAL" clId="{4AE6D2F0-DC8E-44E5-B28E-4F6CEDB7FE26}" dt="2024-09-26T06:15:53.058" v="1999" actId="1076"/>
        <pc:sldMkLst>
          <pc:docMk/>
          <pc:sldMk cId="893897533" sldId="2147471722"/>
        </pc:sldMkLst>
        <pc:spChg chg="mod ord">
          <ac:chgData name="Thijs Oosterhuis" userId="7a578899-10db-4d57-a4ac-a21f5e7bc327" providerId="ADAL" clId="{4AE6D2F0-DC8E-44E5-B28E-4F6CEDB7FE26}" dt="2024-09-26T06:13:44.747" v="1894" actId="700"/>
          <ac:spMkLst>
            <pc:docMk/>
            <pc:sldMk cId="893897533" sldId="2147471722"/>
            <ac:spMk id="2" creationId="{E449706D-7548-29C3-C3E5-15B76E4BD0E4}"/>
          </ac:spMkLst>
        </pc:spChg>
        <pc:spChg chg="mod ord">
          <ac:chgData name="Thijs Oosterhuis" userId="7a578899-10db-4d57-a4ac-a21f5e7bc327" providerId="ADAL" clId="{4AE6D2F0-DC8E-44E5-B28E-4F6CEDB7FE26}" dt="2024-09-26T06:15:46.334" v="1998" actId="20577"/>
          <ac:spMkLst>
            <pc:docMk/>
            <pc:sldMk cId="893897533" sldId="2147471722"/>
            <ac:spMk id="3" creationId="{671FA137-B4D8-5594-EBB4-2A48A665DCFD}"/>
          </ac:spMkLst>
        </pc:spChg>
        <pc:spChg chg="add del mod ord">
          <ac:chgData name="Thijs Oosterhuis" userId="7a578899-10db-4d57-a4ac-a21f5e7bc327" providerId="ADAL" clId="{4AE6D2F0-DC8E-44E5-B28E-4F6CEDB7FE26}" dt="2024-09-26T06:09:12.011" v="1843" actId="700"/>
          <ac:spMkLst>
            <pc:docMk/>
            <pc:sldMk cId="893897533" sldId="2147471722"/>
            <ac:spMk id="5" creationId="{0E2995D5-C676-47E3-C33B-034BB24F26B6}"/>
          </ac:spMkLst>
        </pc:spChg>
        <pc:spChg chg="add del mod ord">
          <ac:chgData name="Thijs Oosterhuis" userId="7a578899-10db-4d57-a4ac-a21f5e7bc327" providerId="ADAL" clId="{4AE6D2F0-DC8E-44E5-B28E-4F6CEDB7FE26}" dt="2024-09-26T06:13:49.421" v="1896" actId="478"/>
          <ac:spMkLst>
            <pc:docMk/>
            <pc:sldMk cId="893897533" sldId="2147471722"/>
            <ac:spMk id="8" creationId="{753FF66C-2099-5E74-78AE-FDD7804490C3}"/>
          </ac:spMkLst>
        </pc:spChg>
        <pc:picChg chg="add mod">
          <ac:chgData name="Thijs Oosterhuis" userId="7a578899-10db-4d57-a4ac-a21f5e7bc327" providerId="ADAL" clId="{4AE6D2F0-DC8E-44E5-B28E-4F6CEDB7FE26}" dt="2024-09-26T06:15:53.058" v="1999" actId="1076"/>
          <ac:picMkLst>
            <pc:docMk/>
            <pc:sldMk cId="893897533" sldId="2147471722"/>
            <ac:picMk id="4" creationId="{9AFF14E2-66BB-40A5-D4B2-609D4512486E}"/>
          </ac:picMkLst>
        </pc:picChg>
        <pc:picChg chg="add mod">
          <ac:chgData name="Thijs Oosterhuis" userId="7a578899-10db-4d57-a4ac-a21f5e7bc327" providerId="ADAL" clId="{4AE6D2F0-DC8E-44E5-B28E-4F6CEDB7FE26}" dt="2024-09-26T06:13:52.296" v="1897" actId="1076"/>
          <ac:picMkLst>
            <pc:docMk/>
            <pc:sldMk cId="893897533" sldId="2147471722"/>
            <ac:picMk id="7" creationId="{7637F422-30A2-2E50-3D6C-2353535158B5}"/>
          </ac:picMkLst>
        </pc:picChg>
      </pc:sldChg>
      <pc:sldChg chg="mod modShow">
        <pc:chgData name="Thijs Oosterhuis" userId="7a578899-10db-4d57-a4ac-a21f5e7bc327" providerId="ADAL" clId="{4AE6D2F0-DC8E-44E5-B28E-4F6CEDB7FE26}" dt="2024-09-25T19:48:54.760" v="1705" actId="729"/>
        <pc:sldMkLst>
          <pc:docMk/>
          <pc:sldMk cId="1522900152" sldId="2147471724"/>
        </pc:sldMkLst>
      </pc:sldChg>
      <pc:sldChg chg="modSp add del mod ord">
        <pc:chgData name="Thijs Oosterhuis" userId="7a578899-10db-4d57-a4ac-a21f5e7bc327" providerId="ADAL" clId="{4AE6D2F0-DC8E-44E5-B28E-4F6CEDB7FE26}" dt="2024-09-25T11:55:42.049" v="503" actId="47"/>
        <pc:sldMkLst>
          <pc:docMk/>
          <pc:sldMk cId="2275261195" sldId="2147471725"/>
        </pc:sldMkLst>
        <pc:spChg chg="mod">
          <ac:chgData name="Thijs Oosterhuis" userId="7a578899-10db-4d57-a4ac-a21f5e7bc327" providerId="ADAL" clId="{4AE6D2F0-DC8E-44E5-B28E-4F6CEDB7FE26}" dt="2024-09-25T11:43:50.185" v="141"/>
          <ac:spMkLst>
            <pc:docMk/>
            <pc:sldMk cId="2275261195" sldId="2147471725"/>
            <ac:spMk id="3" creationId="{671FA137-B4D8-5594-EBB4-2A48A665DCFD}"/>
          </ac:spMkLst>
        </pc:spChg>
      </pc:sldChg>
      <pc:sldChg chg="modSp add del mod ord">
        <pc:chgData name="Thijs Oosterhuis" userId="7a578899-10db-4d57-a4ac-a21f5e7bc327" providerId="ADAL" clId="{4AE6D2F0-DC8E-44E5-B28E-4F6CEDB7FE26}" dt="2024-09-25T11:55:38.509" v="502" actId="47"/>
        <pc:sldMkLst>
          <pc:docMk/>
          <pc:sldMk cId="348947126" sldId="2147471726"/>
        </pc:sldMkLst>
        <pc:spChg chg="mod">
          <ac:chgData name="Thijs Oosterhuis" userId="7a578899-10db-4d57-a4ac-a21f5e7bc327" providerId="ADAL" clId="{4AE6D2F0-DC8E-44E5-B28E-4F6CEDB7FE26}" dt="2024-09-25T11:52:01.821" v="315" actId="21"/>
          <ac:spMkLst>
            <pc:docMk/>
            <pc:sldMk cId="348947126" sldId="2147471726"/>
            <ac:spMk id="3" creationId="{671FA137-B4D8-5594-EBB4-2A48A665DCFD}"/>
          </ac:spMkLst>
        </pc:spChg>
      </pc:sldChg>
      <pc:sldChg chg="addSp delSp modSp add mod ord modAnim">
        <pc:chgData name="Thijs Oosterhuis" userId="7a578899-10db-4d57-a4ac-a21f5e7bc327" providerId="ADAL" clId="{4AE6D2F0-DC8E-44E5-B28E-4F6CEDB7FE26}" dt="2024-09-26T06:05:20.698" v="1809"/>
        <pc:sldMkLst>
          <pc:docMk/>
          <pc:sldMk cId="2639422356" sldId="2147471727"/>
        </pc:sldMkLst>
        <pc:spChg chg="del mod">
          <ac:chgData name="Thijs Oosterhuis" userId="7a578899-10db-4d57-a4ac-a21f5e7bc327" providerId="ADAL" clId="{4AE6D2F0-DC8E-44E5-B28E-4F6CEDB7FE26}" dt="2024-09-25T11:49:40.058" v="291" actId="478"/>
          <ac:spMkLst>
            <pc:docMk/>
            <pc:sldMk cId="2639422356" sldId="2147471727"/>
            <ac:spMk id="2" creationId="{E449706D-7548-29C3-C3E5-15B76E4BD0E4}"/>
          </ac:spMkLst>
        </pc:spChg>
        <pc:spChg chg="del">
          <ac:chgData name="Thijs Oosterhuis" userId="7a578899-10db-4d57-a4ac-a21f5e7bc327" providerId="ADAL" clId="{4AE6D2F0-DC8E-44E5-B28E-4F6CEDB7FE26}" dt="2024-09-25T11:49:37.576" v="289" actId="478"/>
          <ac:spMkLst>
            <pc:docMk/>
            <pc:sldMk cId="2639422356" sldId="2147471727"/>
            <ac:spMk id="3" creationId="{671FA137-B4D8-5594-EBB4-2A48A665DCFD}"/>
          </ac:spMkLst>
        </pc:spChg>
        <pc:spChg chg="add mod">
          <ac:chgData name="Thijs Oosterhuis" userId="7a578899-10db-4d57-a4ac-a21f5e7bc327" providerId="ADAL" clId="{4AE6D2F0-DC8E-44E5-B28E-4F6CEDB7FE26}" dt="2024-09-26T06:03:53.745" v="1804" actId="14100"/>
          <ac:spMkLst>
            <pc:docMk/>
            <pc:sldMk cId="2639422356" sldId="2147471727"/>
            <ac:spMk id="5" creationId="{0FFEC7AF-993A-D045-D221-F5476CD25952}"/>
          </ac:spMkLst>
        </pc:spChg>
        <pc:spChg chg="add mod">
          <ac:chgData name="Thijs Oosterhuis" userId="7a578899-10db-4d57-a4ac-a21f5e7bc327" providerId="ADAL" clId="{4AE6D2F0-DC8E-44E5-B28E-4F6CEDB7FE26}" dt="2024-09-26T06:03:56.029" v="1805" actId="20577"/>
          <ac:spMkLst>
            <pc:docMk/>
            <pc:sldMk cId="2639422356" sldId="2147471727"/>
            <ac:spMk id="7" creationId="{E7A9B9A1-DCBE-D66E-62A8-563A94216EA6}"/>
          </ac:spMkLst>
        </pc:spChg>
        <pc:spChg chg="add mod">
          <ac:chgData name="Thijs Oosterhuis" userId="7a578899-10db-4d57-a4ac-a21f5e7bc327" providerId="ADAL" clId="{4AE6D2F0-DC8E-44E5-B28E-4F6CEDB7FE26}" dt="2024-09-25T11:49:45.643" v="293"/>
          <ac:spMkLst>
            <pc:docMk/>
            <pc:sldMk cId="2639422356" sldId="2147471727"/>
            <ac:spMk id="8" creationId="{A04CA4D0-FDAB-42C5-BFD5-3F0F2FC3515F}"/>
          </ac:spMkLst>
        </pc:spChg>
        <pc:spChg chg="add mod">
          <ac:chgData name="Thijs Oosterhuis" userId="7a578899-10db-4d57-a4ac-a21f5e7bc327" providerId="ADAL" clId="{4AE6D2F0-DC8E-44E5-B28E-4F6CEDB7FE26}" dt="2024-09-25T11:49:43.196" v="292"/>
          <ac:spMkLst>
            <pc:docMk/>
            <pc:sldMk cId="2639422356" sldId="2147471727"/>
            <ac:spMk id="9" creationId="{A676BEE5-9312-7EF9-4BC7-BF5A3EF62A20}"/>
          </ac:spMkLst>
        </pc:spChg>
        <pc:spChg chg="add mod">
          <ac:chgData name="Thijs Oosterhuis" userId="7a578899-10db-4d57-a4ac-a21f5e7bc327" providerId="ADAL" clId="{4AE6D2F0-DC8E-44E5-B28E-4F6CEDB7FE26}" dt="2024-09-25T11:49:54.686" v="296" actId="21"/>
          <ac:spMkLst>
            <pc:docMk/>
            <pc:sldMk cId="2639422356" sldId="2147471727"/>
            <ac:spMk id="13" creationId="{281C3578-9112-9DB7-E160-7669EB33AAEC}"/>
          </ac:spMkLst>
        </pc:spChg>
        <pc:spChg chg="add mod">
          <ac:chgData name="Thijs Oosterhuis" userId="7a578899-10db-4d57-a4ac-a21f5e7bc327" providerId="ADAL" clId="{4AE6D2F0-DC8E-44E5-B28E-4F6CEDB7FE26}" dt="2024-09-25T11:49:59.760" v="298" actId="21"/>
          <ac:spMkLst>
            <pc:docMk/>
            <pc:sldMk cId="2639422356" sldId="2147471727"/>
            <ac:spMk id="14" creationId="{9628D707-6BC5-1698-2157-E77F7B334435}"/>
          </ac:spMkLst>
        </pc:spChg>
        <pc:picChg chg="add mod">
          <ac:chgData name="Thijs Oosterhuis" userId="7a578899-10db-4d57-a4ac-a21f5e7bc327" providerId="ADAL" clId="{4AE6D2F0-DC8E-44E5-B28E-4F6CEDB7FE26}" dt="2024-09-25T11:49:43.196" v="292"/>
          <ac:picMkLst>
            <pc:docMk/>
            <pc:sldMk cId="2639422356" sldId="2147471727"/>
            <ac:picMk id="10" creationId="{A394B08B-0D27-BB21-30BA-1F0BDE29A323}"/>
          </ac:picMkLst>
        </pc:picChg>
        <pc:picChg chg="add mod">
          <ac:chgData name="Thijs Oosterhuis" userId="7a578899-10db-4d57-a4ac-a21f5e7bc327" providerId="ADAL" clId="{4AE6D2F0-DC8E-44E5-B28E-4F6CEDB7FE26}" dt="2024-09-25T11:49:43.196" v="292"/>
          <ac:picMkLst>
            <pc:docMk/>
            <pc:sldMk cId="2639422356" sldId="2147471727"/>
            <ac:picMk id="11" creationId="{1C17AC8B-4522-3720-97D2-EED403066CDD}"/>
          </ac:picMkLst>
        </pc:picChg>
        <pc:picChg chg="add mod">
          <ac:chgData name="Thijs Oosterhuis" userId="7a578899-10db-4d57-a4ac-a21f5e7bc327" providerId="ADAL" clId="{4AE6D2F0-DC8E-44E5-B28E-4F6CEDB7FE26}" dt="2024-09-25T11:49:43.196" v="292"/>
          <ac:picMkLst>
            <pc:docMk/>
            <pc:sldMk cId="2639422356" sldId="2147471727"/>
            <ac:picMk id="12" creationId="{DC3B33A6-E234-1591-0E7E-28378F648505}"/>
          </ac:picMkLst>
        </pc:picChg>
        <pc:picChg chg="add del mod">
          <ac:chgData name="Thijs Oosterhuis" userId="7a578899-10db-4d57-a4ac-a21f5e7bc327" providerId="ADAL" clId="{4AE6D2F0-DC8E-44E5-B28E-4F6CEDB7FE26}" dt="2024-09-25T13:13:50.920" v="836" actId="21"/>
          <ac:picMkLst>
            <pc:docMk/>
            <pc:sldMk cId="2639422356" sldId="2147471727"/>
            <ac:picMk id="15" creationId="{C50D70B5-8F13-A79E-8259-D34E83B370A6}"/>
          </ac:picMkLst>
        </pc:picChg>
        <pc:picChg chg="add del mod">
          <ac:chgData name="Thijs Oosterhuis" userId="7a578899-10db-4d57-a4ac-a21f5e7bc327" providerId="ADAL" clId="{4AE6D2F0-DC8E-44E5-B28E-4F6CEDB7FE26}" dt="2024-09-25T13:13:50.920" v="836" actId="21"/>
          <ac:picMkLst>
            <pc:docMk/>
            <pc:sldMk cId="2639422356" sldId="2147471727"/>
            <ac:picMk id="16" creationId="{7D577913-EB2A-8302-724A-E63983BE167E}"/>
          </ac:picMkLst>
        </pc:picChg>
        <pc:picChg chg="add del mod">
          <ac:chgData name="Thijs Oosterhuis" userId="7a578899-10db-4d57-a4ac-a21f5e7bc327" providerId="ADAL" clId="{4AE6D2F0-DC8E-44E5-B28E-4F6CEDB7FE26}" dt="2024-09-25T13:13:50.920" v="836" actId="21"/>
          <ac:picMkLst>
            <pc:docMk/>
            <pc:sldMk cId="2639422356" sldId="2147471727"/>
            <ac:picMk id="17" creationId="{A6DA4C2D-FDE0-61AE-8ED3-9C9A1D28487D}"/>
          </ac:picMkLst>
        </pc:picChg>
        <pc:picChg chg="add mod">
          <ac:chgData name="Thijs Oosterhuis" userId="7a578899-10db-4d57-a4ac-a21f5e7bc327" providerId="ADAL" clId="{4AE6D2F0-DC8E-44E5-B28E-4F6CEDB7FE26}" dt="2024-09-25T13:37:43.554" v="870" actId="1076"/>
          <ac:picMkLst>
            <pc:docMk/>
            <pc:sldMk cId="2639422356" sldId="2147471727"/>
            <ac:picMk id="1026" creationId="{BDE9DB0A-0CB4-E5C6-6CED-CB10128164AC}"/>
          </ac:picMkLst>
        </pc:picChg>
        <pc:picChg chg="add mod">
          <ac:chgData name="Thijs Oosterhuis" userId="7a578899-10db-4d57-a4ac-a21f5e7bc327" providerId="ADAL" clId="{4AE6D2F0-DC8E-44E5-B28E-4F6CEDB7FE26}" dt="2024-09-25T13:38:26.216" v="875" actId="1076"/>
          <ac:picMkLst>
            <pc:docMk/>
            <pc:sldMk cId="2639422356" sldId="2147471727"/>
            <ac:picMk id="1028" creationId="{2C963A26-BBA2-504B-86D4-A046A97ECC75}"/>
          </ac:picMkLst>
        </pc:picChg>
        <pc:picChg chg="add mod">
          <ac:chgData name="Thijs Oosterhuis" userId="7a578899-10db-4d57-a4ac-a21f5e7bc327" providerId="ADAL" clId="{4AE6D2F0-DC8E-44E5-B28E-4F6CEDB7FE26}" dt="2024-09-25T19:25:58.652" v="985" actId="1076"/>
          <ac:picMkLst>
            <pc:docMk/>
            <pc:sldMk cId="2639422356" sldId="2147471727"/>
            <ac:picMk id="1030" creationId="{2F7B2AA8-50E7-C233-71D2-7DE09E6F408D}"/>
          </ac:picMkLst>
        </pc:picChg>
      </pc:sldChg>
      <pc:sldChg chg="addSp delSp modSp new del mod">
        <pc:chgData name="Thijs Oosterhuis" userId="7a578899-10db-4d57-a4ac-a21f5e7bc327" providerId="ADAL" clId="{4AE6D2F0-DC8E-44E5-B28E-4F6CEDB7FE26}" dt="2024-09-25T11:49:29.822" v="285" actId="2696"/>
        <pc:sldMkLst>
          <pc:docMk/>
          <pc:sldMk cId="2982689037" sldId="2147471727"/>
        </pc:sldMkLst>
        <pc:spChg chg="del">
          <ac:chgData name="Thijs Oosterhuis" userId="7a578899-10db-4d57-a4ac-a21f5e7bc327" providerId="ADAL" clId="{4AE6D2F0-DC8E-44E5-B28E-4F6CEDB7FE26}" dt="2024-09-25T11:49:03.580" v="280" actId="478"/>
          <ac:spMkLst>
            <pc:docMk/>
            <pc:sldMk cId="2982689037" sldId="2147471727"/>
            <ac:spMk id="2" creationId="{4C60E27C-1E94-94DB-6B37-B7A56A9ACC4D}"/>
          </ac:spMkLst>
        </pc:spChg>
        <pc:spChg chg="del">
          <ac:chgData name="Thijs Oosterhuis" userId="7a578899-10db-4d57-a4ac-a21f5e7bc327" providerId="ADAL" clId="{4AE6D2F0-DC8E-44E5-B28E-4F6CEDB7FE26}" dt="2024-09-25T11:49:05.806" v="281" actId="478"/>
          <ac:spMkLst>
            <pc:docMk/>
            <pc:sldMk cId="2982689037" sldId="2147471727"/>
            <ac:spMk id="4" creationId="{01B2D5B8-6044-BDC2-2155-9FD003A10DFC}"/>
          </ac:spMkLst>
        </pc:spChg>
        <pc:spChg chg="add mod">
          <ac:chgData name="Thijs Oosterhuis" userId="7a578899-10db-4d57-a4ac-a21f5e7bc327" providerId="ADAL" clId="{4AE6D2F0-DC8E-44E5-B28E-4F6CEDB7FE26}" dt="2024-09-25T11:49:08.132" v="282"/>
          <ac:spMkLst>
            <pc:docMk/>
            <pc:sldMk cId="2982689037" sldId="2147471727"/>
            <ac:spMk id="5" creationId="{B604CFE5-A2AD-666C-C712-F438829FF36D}"/>
          </ac:spMkLst>
        </pc:spChg>
        <pc:spChg chg="add mod">
          <ac:chgData name="Thijs Oosterhuis" userId="7a578899-10db-4d57-a4ac-a21f5e7bc327" providerId="ADAL" clId="{4AE6D2F0-DC8E-44E5-B28E-4F6CEDB7FE26}" dt="2024-09-25T11:49:16.857" v="284" actId="14100"/>
          <ac:spMkLst>
            <pc:docMk/>
            <pc:sldMk cId="2982689037" sldId="2147471727"/>
            <ac:spMk id="6" creationId="{48311470-CB78-0D72-814B-6F7053E7C02C}"/>
          </ac:spMkLst>
        </pc:spChg>
        <pc:picChg chg="add mod">
          <ac:chgData name="Thijs Oosterhuis" userId="7a578899-10db-4d57-a4ac-a21f5e7bc327" providerId="ADAL" clId="{4AE6D2F0-DC8E-44E5-B28E-4F6CEDB7FE26}" dt="2024-09-25T11:49:08.132" v="282"/>
          <ac:picMkLst>
            <pc:docMk/>
            <pc:sldMk cId="2982689037" sldId="2147471727"/>
            <ac:picMk id="7" creationId="{B6AEF6A1-DD54-7FF7-2B93-CCFF101215A1}"/>
          </ac:picMkLst>
        </pc:picChg>
        <pc:picChg chg="add mod">
          <ac:chgData name="Thijs Oosterhuis" userId="7a578899-10db-4d57-a4ac-a21f5e7bc327" providerId="ADAL" clId="{4AE6D2F0-DC8E-44E5-B28E-4F6CEDB7FE26}" dt="2024-09-25T11:49:08.132" v="282"/>
          <ac:picMkLst>
            <pc:docMk/>
            <pc:sldMk cId="2982689037" sldId="2147471727"/>
            <ac:picMk id="8" creationId="{A6BDC132-14CD-C0D7-FACB-26A15B576123}"/>
          </ac:picMkLst>
        </pc:picChg>
        <pc:picChg chg="add mod">
          <ac:chgData name="Thijs Oosterhuis" userId="7a578899-10db-4d57-a4ac-a21f5e7bc327" providerId="ADAL" clId="{4AE6D2F0-DC8E-44E5-B28E-4F6CEDB7FE26}" dt="2024-09-25T11:49:08.132" v="282"/>
          <ac:picMkLst>
            <pc:docMk/>
            <pc:sldMk cId="2982689037" sldId="2147471727"/>
            <ac:picMk id="9" creationId="{DC14E15B-89E0-D439-09EE-14D2E4AEF2E4}"/>
          </ac:picMkLst>
        </pc:picChg>
      </pc:sldChg>
      <pc:sldChg chg="new del">
        <pc:chgData name="Thijs Oosterhuis" userId="7a578899-10db-4d57-a4ac-a21f5e7bc327" providerId="ADAL" clId="{4AE6D2F0-DC8E-44E5-B28E-4F6CEDB7FE26}" dt="2024-09-25T12:20:56.880" v="533" actId="47"/>
        <pc:sldMkLst>
          <pc:docMk/>
          <pc:sldMk cId="3560047475" sldId="2147471728"/>
        </pc:sldMkLst>
      </pc:sldChg>
      <pc:sldChg chg="addSp delSp modSp new mod ord">
        <pc:chgData name="Thijs Oosterhuis" userId="7a578899-10db-4d57-a4ac-a21f5e7bc327" providerId="ADAL" clId="{4AE6D2F0-DC8E-44E5-B28E-4F6CEDB7FE26}" dt="2024-09-26T06:07:44.658" v="1836" actId="20577"/>
        <pc:sldMkLst>
          <pc:docMk/>
          <pc:sldMk cId="4081157169" sldId="2147471728"/>
        </pc:sldMkLst>
        <pc:spChg chg="mod">
          <ac:chgData name="Thijs Oosterhuis" userId="7a578899-10db-4d57-a4ac-a21f5e7bc327" providerId="ADAL" clId="{4AE6D2F0-DC8E-44E5-B28E-4F6CEDB7FE26}" dt="2024-09-25T19:25:36.707" v="984" actId="20577"/>
          <ac:spMkLst>
            <pc:docMk/>
            <pc:sldMk cId="4081157169" sldId="2147471728"/>
            <ac:spMk id="2" creationId="{8227389C-BC11-84D4-1D00-3171DA58BF7B}"/>
          </ac:spMkLst>
        </pc:spChg>
        <pc:spChg chg="mod">
          <ac:chgData name="Thijs Oosterhuis" userId="7a578899-10db-4d57-a4ac-a21f5e7bc327" providerId="ADAL" clId="{4AE6D2F0-DC8E-44E5-B28E-4F6CEDB7FE26}" dt="2024-09-26T06:07:44.658" v="1836" actId="20577"/>
          <ac:spMkLst>
            <pc:docMk/>
            <pc:sldMk cId="4081157169" sldId="2147471728"/>
            <ac:spMk id="3" creationId="{96E30BF6-8762-4A0C-D2BC-8CCD5D3282BD}"/>
          </ac:spMkLst>
        </pc:spChg>
        <pc:picChg chg="add del mod">
          <ac:chgData name="Thijs Oosterhuis" userId="7a578899-10db-4d57-a4ac-a21f5e7bc327" providerId="ADAL" clId="{4AE6D2F0-DC8E-44E5-B28E-4F6CEDB7FE26}" dt="2024-09-25T19:32:52.456" v="1253" actId="21"/>
          <ac:picMkLst>
            <pc:docMk/>
            <pc:sldMk cId="4081157169" sldId="2147471728"/>
            <ac:picMk id="15" creationId="{C50D70B5-8F13-A79E-8259-D34E83B370A6}"/>
          </ac:picMkLst>
        </pc:picChg>
        <pc:picChg chg="add mod">
          <ac:chgData name="Thijs Oosterhuis" userId="7a578899-10db-4d57-a4ac-a21f5e7bc327" providerId="ADAL" clId="{4AE6D2F0-DC8E-44E5-B28E-4F6CEDB7FE26}" dt="2024-09-25T13:25:49.864" v="868" actId="1076"/>
          <ac:picMkLst>
            <pc:docMk/>
            <pc:sldMk cId="4081157169" sldId="2147471728"/>
            <ac:picMk id="16" creationId="{7D577913-EB2A-8302-724A-E63983BE167E}"/>
          </ac:picMkLst>
        </pc:picChg>
        <pc:picChg chg="add mod">
          <ac:chgData name="Thijs Oosterhuis" userId="7a578899-10db-4d57-a4ac-a21f5e7bc327" providerId="ADAL" clId="{4AE6D2F0-DC8E-44E5-B28E-4F6CEDB7FE26}" dt="2024-09-25T13:13:59.908" v="840" actId="1076"/>
          <ac:picMkLst>
            <pc:docMk/>
            <pc:sldMk cId="4081157169" sldId="2147471728"/>
            <ac:picMk id="17" creationId="{A6DA4C2D-FDE0-61AE-8ED3-9C9A1D28487D}"/>
          </ac:picMkLst>
        </pc:picChg>
        <pc:picChg chg="add mod">
          <ac:chgData name="Thijs Oosterhuis" userId="7a578899-10db-4d57-a4ac-a21f5e7bc327" providerId="ADAL" clId="{4AE6D2F0-DC8E-44E5-B28E-4F6CEDB7FE26}" dt="2024-09-26T05:59:57.896" v="1742" actId="1076"/>
          <ac:picMkLst>
            <pc:docMk/>
            <pc:sldMk cId="4081157169" sldId="2147471728"/>
            <ac:picMk id="2050" creationId="{5474A971-364F-488F-0BBB-425C19967E2E}"/>
          </ac:picMkLst>
        </pc:picChg>
      </pc:sldChg>
      <pc:sldChg chg="delSp modSp new del mod">
        <pc:chgData name="Thijs Oosterhuis" userId="7a578899-10db-4d57-a4ac-a21f5e7bc327" providerId="ADAL" clId="{4AE6D2F0-DC8E-44E5-B28E-4F6CEDB7FE26}" dt="2024-09-25T19:30:50.902" v="1026" actId="47"/>
        <pc:sldMkLst>
          <pc:docMk/>
          <pc:sldMk cId="1375003681" sldId="2147471729"/>
        </pc:sldMkLst>
        <pc:spChg chg="del">
          <ac:chgData name="Thijs Oosterhuis" userId="7a578899-10db-4d57-a4ac-a21f5e7bc327" providerId="ADAL" clId="{4AE6D2F0-DC8E-44E5-B28E-4F6CEDB7FE26}" dt="2024-09-25T19:30:30.544" v="1024" actId="478"/>
          <ac:spMkLst>
            <pc:docMk/>
            <pc:sldMk cId="1375003681" sldId="2147471729"/>
            <ac:spMk id="2" creationId="{41C4FF62-5027-EAF9-7099-C5B1149C0869}"/>
          </ac:spMkLst>
        </pc:spChg>
        <pc:spChg chg="del mod">
          <ac:chgData name="Thijs Oosterhuis" userId="7a578899-10db-4d57-a4ac-a21f5e7bc327" providerId="ADAL" clId="{4AE6D2F0-DC8E-44E5-B28E-4F6CEDB7FE26}" dt="2024-09-25T19:30:26.855" v="1023" actId="478"/>
          <ac:spMkLst>
            <pc:docMk/>
            <pc:sldMk cId="1375003681" sldId="2147471729"/>
            <ac:spMk id="4" creationId="{25F3CC41-92D7-79B4-90A2-F68AD73F98CA}"/>
          </ac:spMkLst>
        </pc:spChg>
      </pc:sldChg>
      <pc:sldChg chg="addSp modSp new mod modClrScheme chgLayout">
        <pc:chgData name="Thijs Oosterhuis" userId="7a578899-10db-4d57-a4ac-a21f5e7bc327" providerId="ADAL" clId="{4AE6D2F0-DC8E-44E5-B28E-4F6CEDB7FE26}" dt="2024-09-25T19:33:03.794" v="1256" actId="26606"/>
        <pc:sldMkLst>
          <pc:docMk/>
          <pc:sldMk cId="1803621577" sldId="2147471730"/>
        </pc:sldMkLst>
        <pc:spChg chg="mod">
          <ac:chgData name="Thijs Oosterhuis" userId="7a578899-10db-4d57-a4ac-a21f5e7bc327" providerId="ADAL" clId="{4AE6D2F0-DC8E-44E5-B28E-4F6CEDB7FE26}" dt="2024-09-25T19:33:03.794" v="1256" actId="26606"/>
          <ac:spMkLst>
            <pc:docMk/>
            <pc:sldMk cId="1803621577" sldId="2147471730"/>
            <ac:spMk id="2" creationId="{7ADE7526-2E3E-C528-BE96-E0719FA85D87}"/>
          </ac:spMkLst>
        </pc:spChg>
        <pc:spChg chg="mod ord modVis">
          <ac:chgData name="Thijs Oosterhuis" userId="7a578899-10db-4d57-a4ac-a21f5e7bc327" providerId="ADAL" clId="{4AE6D2F0-DC8E-44E5-B28E-4F6CEDB7FE26}" dt="2024-09-25T19:33:03.794" v="1256" actId="26606"/>
          <ac:spMkLst>
            <pc:docMk/>
            <pc:sldMk cId="1803621577" sldId="2147471730"/>
            <ac:spMk id="3" creationId="{4AEE7402-E1DD-B60F-C2CB-86CBB14ABE27}"/>
          </ac:spMkLst>
        </pc:spChg>
        <pc:spChg chg="mod ord">
          <ac:chgData name="Thijs Oosterhuis" userId="7a578899-10db-4d57-a4ac-a21f5e7bc327" providerId="ADAL" clId="{4AE6D2F0-DC8E-44E5-B28E-4F6CEDB7FE26}" dt="2024-09-25T19:33:03.794" v="1256" actId="26606"/>
          <ac:spMkLst>
            <pc:docMk/>
            <pc:sldMk cId="1803621577" sldId="2147471730"/>
            <ac:spMk id="4" creationId="{442F8F2D-9BBF-556A-6899-365B86831F49}"/>
          </ac:spMkLst>
        </pc:spChg>
        <pc:spChg chg="add mod">
          <ac:chgData name="Thijs Oosterhuis" userId="7a578899-10db-4d57-a4ac-a21f5e7bc327" providerId="ADAL" clId="{4AE6D2F0-DC8E-44E5-B28E-4F6CEDB7FE26}" dt="2024-09-25T19:31:55.682" v="1153" actId="571"/>
          <ac:spMkLst>
            <pc:docMk/>
            <pc:sldMk cId="1803621577" sldId="2147471730"/>
            <ac:spMk id="5" creationId="{7D5820B9-8271-2D8C-ED0F-0E24782A8FC8}"/>
          </ac:spMkLst>
        </pc:spChg>
        <pc:picChg chg="add mod">
          <ac:chgData name="Thijs Oosterhuis" userId="7a578899-10db-4d57-a4ac-a21f5e7bc327" providerId="ADAL" clId="{4AE6D2F0-DC8E-44E5-B28E-4F6CEDB7FE26}" dt="2024-09-25T19:33:03.794" v="1256" actId="26606"/>
          <ac:picMkLst>
            <pc:docMk/>
            <pc:sldMk cId="1803621577" sldId="2147471730"/>
            <ac:picMk id="15" creationId="{C50D70B5-8F13-A79E-8259-D34E83B370A6}"/>
          </ac:picMkLst>
        </pc:picChg>
      </pc:sldChg>
      <pc:sldChg chg="addSp delSp modSp new mod">
        <pc:chgData name="Thijs Oosterhuis" userId="7a578899-10db-4d57-a4ac-a21f5e7bc327" providerId="ADAL" clId="{4AE6D2F0-DC8E-44E5-B28E-4F6CEDB7FE26}" dt="2024-09-26T06:53:34.673" v="2070" actId="113"/>
        <pc:sldMkLst>
          <pc:docMk/>
          <pc:sldMk cId="2414410495" sldId="2147471731"/>
        </pc:sldMkLst>
        <pc:spChg chg="mod">
          <ac:chgData name="Thijs Oosterhuis" userId="7a578899-10db-4d57-a4ac-a21f5e7bc327" providerId="ADAL" clId="{4AE6D2F0-DC8E-44E5-B28E-4F6CEDB7FE26}" dt="2024-09-26T06:53:34.673" v="2070" actId="113"/>
          <ac:spMkLst>
            <pc:docMk/>
            <pc:sldMk cId="2414410495" sldId="2147471731"/>
            <ac:spMk id="2" creationId="{0ED3F560-B23E-74BC-5313-A897671DA4A5}"/>
          </ac:spMkLst>
        </pc:spChg>
        <pc:spChg chg="del">
          <ac:chgData name="Thijs Oosterhuis" userId="7a578899-10db-4d57-a4ac-a21f5e7bc327" providerId="ADAL" clId="{4AE6D2F0-DC8E-44E5-B28E-4F6CEDB7FE26}" dt="2024-09-25T19:45:52.474" v="1704" actId="478"/>
          <ac:spMkLst>
            <pc:docMk/>
            <pc:sldMk cId="2414410495" sldId="2147471731"/>
            <ac:spMk id="3" creationId="{ABA6DFD5-CDEA-EF07-9B4C-94757F86DEDA}"/>
          </ac:spMkLst>
        </pc:spChg>
        <pc:spChg chg="mod">
          <ac:chgData name="Thijs Oosterhuis" userId="7a578899-10db-4d57-a4ac-a21f5e7bc327" providerId="ADAL" clId="{4AE6D2F0-DC8E-44E5-B28E-4F6CEDB7FE26}" dt="2024-09-25T19:44:29.207" v="1586" actId="20577"/>
          <ac:spMkLst>
            <pc:docMk/>
            <pc:sldMk cId="2414410495" sldId="2147471731"/>
            <ac:spMk id="4" creationId="{0A3BFC39-1651-C73C-FC1B-7A764BEA0595}"/>
          </ac:spMkLst>
        </pc:spChg>
        <pc:spChg chg="add del">
          <ac:chgData name="Thijs Oosterhuis" userId="7a578899-10db-4d57-a4ac-a21f5e7bc327" providerId="ADAL" clId="{4AE6D2F0-DC8E-44E5-B28E-4F6CEDB7FE26}" dt="2024-09-25T19:49:13.255" v="1713" actId="22"/>
          <ac:spMkLst>
            <pc:docMk/>
            <pc:sldMk cId="2414410495" sldId="2147471731"/>
            <ac:spMk id="6" creationId="{D0F04765-E111-4D26-5188-DC86DA64980C}"/>
          </ac:spMkLst>
        </pc:spChg>
      </pc:sldChg>
      <pc:sldChg chg="modSp new add del mod">
        <pc:chgData name="Thijs Oosterhuis" userId="7a578899-10db-4d57-a4ac-a21f5e7bc327" providerId="ADAL" clId="{4AE6D2F0-DC8E-44E5-B28E-4F6CEDB7FE26}" dt="2024-09-25T19:49:53.728" v="1740" actId="47"/>
        <pc:sldMkLst>
          <pc:docMk/>
          <pc:sldMk cId="1007869550" sldId="2147471732"/>
        </pc:sldMkLst>
        <pc:spChg chg="mod">
          <ac:chgData name="Thijs Oosterhuis" userId="7a578899-10db-4d57-a4ac-a21f5e7bc327" providerId="ADAL" clId="{4AE6D2F0-DC8E-44E5-B28E-4F6CEDB7FE26}" dt="2024-09-25T19:49:50.196" v="1739" actId="20577"/>
          <ac:spMkLst>
            <pc:docMk/>
            <pc:sldMk cId="1007869550" sldId="2147471732"/>
            <ac:spMk id="2" creationId="{C87AE8C4-FBA0-6471-9686-EEE524CEB50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25-9-2024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25-9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F6BFC5-4EE4-49AC-A029-2773F66E5A48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2882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jp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image" Target="../media/image13.ti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jp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46663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710652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en foto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382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571500" y="1308190"/>
            <a:ext cx="3546663" cy="4234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</a:t>
            </a:r>
            <a:r>
              <a:rPr lang="nl-NL"/>
              <a:t>om tekst toe te voegen</a:t>
            </a:r>
            <a:endParaRPr lang="nl-NL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D379FD-8BD4-4811-9807-915B47569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4914900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164657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79357" y="4807511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24849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CA5524-084C-47F7-AA3A-A8A468C721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7757" y="1992355"/>
            <a:ext cx="4141786" cy="43409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2800" i="1">
                <a:solidFill>
                  <a:srgbClr val="281F6B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“Provinciale uitspraken”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559AA1B-0F4A-4100-A194-0177CDBD44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916708" y="2719481"/>
            <a:ext cx="2541586" cy="24801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 ─ Dhr. V. van Achternaa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 met bal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8737B4-2FD5-4A45-987F-9128F9ACD9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E92D4-CAAE-4DC0-B3B6-4690BA86B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5790369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1357070"/>
            <a:ext cx="8283575" cy="33111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BB238C0-88EA-4AB1-A12F-847285A48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C17670-B6DA-429C-B383-715F8716A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455126-5ADC-47ED-94E6-E82C3650B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ee objec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5E1462B-417B-43F8-8006-2E8D236C3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935332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935331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5900265-61E5-48CF-A03D-0321B8BD48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71499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ED6F69-8339-4760-9BE7-47E46CBE035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809671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B97601A-A2C5-4823-81F0-9E9AC15A1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858398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329176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93F1C08-4B53-4E38-9535-D52BB86266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8800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8770D6-BA0A-4BC7-98BB-F39F27455F12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770194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B070F-B317-4B96-B2B5-CE6D2A7BCA3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799" y="1752300"/>
            <a:ext cx="565200" cy="33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FB165AF-0CAF-3866-DC58-73C3952A5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8" r="12535"/>
          <a:stretch/>
        </p:blipFill>
        <p:spPr>
          <a:xfrm>
            <a:off x="8836270" y="2514928"/>
            <a:ext cx="307730" cy="2628572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2936FC-4F75-C361-CC19-F72B8825F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10" y="291704"/>
            <a:ext cx="8303563" cy="5375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Klik</a:t>
            </a:r>
            <a:r>
              <a:rPr lang="fr-FR"/>
              <a:t> om </a:t>
            </a:r>
            <a:r>
              <a:rPr lang="fr-FR" err="1"/>
              <a:t>een</a:t>
            </a:r>
            <a:r>
              <a:rPr lang="fr-FR"/>
              <a:t> </a:t>
            </a:r>
            <a:r>
              <a:rPr lang="fr-FR" err="1"/>
              <a:t>titel</a:t>
            </a:r>
            <a:r>
              <a:rPr lang="fr-FR"/>
              <a:t> in te </a:t>
            </a:r>
            <a:r>
              <a:rPr lang="fr-FR" err="1"/>
              <a:t>voegen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865E82-8CC0-E80D-4701-9DBBCF0D3D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3610" y="4953298"/>
            <a:ext cx="820340" cy="77161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4D8CD9E-2EB1-BBA2-C007-7D3B82D8D9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3610" y="0"/>
            <a:ext cx="3394710" cy="291704"/>
          </a:xfrm>
          <a:prstGeom prst="rect">
            <a:avLst/>
          </a:prstGeom>
        </p:spPr>
        <p:txBody>
          <a:bodyPr lIns="0" anchor="ctr"/>
          <a:lstStyle>
            <a:lvl1pPr>
              <a:defRPr sz="675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  <a:endParaRPr lang="nl-NL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430F382-777B-A6CC-F487-DDD2087D6E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3610" y="995363"/>
            <a:ext cx="8303563" cy="38516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06428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ereikbaar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654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BCE4183-3CC1-4278-A7B6-861E50254297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7180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_Introdu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05817F1C-25BB-2870-B641-1D093EB7F1C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1"/>
            </p:custDataLst>
          </p:nvPr>
        </p:nvSpPr>
        <p:spPr>
          <a:xfrm>
            <a:off x="1" y="-1"/>
            <a:ext cx="9143999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/>
              <a:t>Klik op het pictogram om </a:t>
            </a:r>
            <a:br>
              <a:rPr lang="nl-NL"/>
            </a:br>
            <a:r>
              <a:rPr lang="nl-NL"/>
              <a:t>een afbeelding in te voeg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165AF-0CAF-3866-DC58-73C3952A59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8" r="12535"/>
          <a:stretch/>
        </p:blipFill>
        <p:spPr>
          <a:xfrm>
            <a:off x="8836270" y="2514928"/>
            <a:ext cx="307730" cy="2628572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2936FC-4F75-C361-CC19-F72B8825F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8614" y="2901559"/>
            <a:ext cx="5406773" cy="7687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Klik</a:t>
            </a:r>
            <a:r>
              <a:rPr lang="fr-FR"/>
              <a:t> om </a:t>
            </a:r>
            <a:r>
              <a:rPr lang="fr-FR" err="1"/>
              <a:t>een</a:t>
            </a:r>
            <a:r>
              <a:rPr lang="fr-FR"/>
              <a:t> </a:t>
            </a:r>
            <a:r>
              <a:rPr lang="fr-FR" err="1"/>
              <a:t>titel</a:t>
            </a:r>
            <a:r>
              <a:rPr lang="fr-FR"/>
              <a:t> in te </a:t>
            </a:r>
            <a:r>
              <a:rPr lang="fr-FR" err="1"/>
              <a:t>voegen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865E82-8CC0-E80D-4701-9DBBCF0D3D9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610" y="4953298"/>
            <a:ext cx="820340" cy="77161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4D8CD9E-2EB1-BBA2-C007-7D3B82D8D9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4645" y="2609855"/>
            <a:ext cx="3394710" cy="291704"/>
          </a:xfrm>
          <a:prstGeom prst="rect">
            <a:avLst/>
          </a:prstGeom>
        </p:spPr>
        <p:txBody>
          <a:bodyPr lIns="0" anchor="ctr"/>
          <a:lstStyle>
            <a:lvl1pPr algn="ctr">
              <a:defRPr sz="675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  <a:endParaRPr lang="nl-NL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430F382-777B-A6CC-F487-DDD2087D6E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4645" y="3670300"/>
            <a:ext cx="3394710" cy="1176735"/>
          </a:xfrm>
          <a:prstGeom prst="rect">
            <a:avLst/>
          </a:prstGeom>
        </p:spPr>
        <p:txBody>
          <a:bodyPr/>
          <a:lstStyle>
            <a:lvl1pPr algn="ctr">
              <a:defRPr sz="1050" i="1"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Description text</a:t>
            </a:r>
            <a:endParaRPr lang="nl-NL"/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506CAFE8-DF28-A7C5-3974-6EC1C808C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3610" y="0"/>
            <a:ext cx="3394710" cy="291704"/>
          </a:xfrm>
          <a:prstGeom prst="rect">
            <a:avLst/>
          </a:prstGeom>
        </p:spPr>
        <p:txBody>
          <a:bodyPr lIns="0" anchor="ctr"/>
          <a:lstStyle>
            <a:lvl1pPr>
              <a:defRPr sz="675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7169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ncurrerend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98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62F47E-F438-4019-B1F1-6D0737D9B6A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613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zond en Veilig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07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ECE84D-3D96-469C-AB47-0EC9729405FC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382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amenwerk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0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D617417-A6C0-4BE7-975C-595A3277DC7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70671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chone Energ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27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5F2F36-69B0-4EF4-ACA4-5167DDA640CE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41833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erke Steden en Dorp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141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EE8E29C-CDBC-4BA0-A00E-65C8FC548138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5305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sterken Natuu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138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8D1807-ED12-4152-BA69-3891B0FF0C61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9297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en Cov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1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26561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E8DCF166-39A4-4A13-85DF-E6F8B3C14FFC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159650-3484-4E65-A421-ACC3EE448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2462" y="1936800"/>
            <a:ext cx="4659356" cy="5832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685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000" y="4795200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74800" y="4795200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C46C9D-AA03-4E57-BF9E-72B03BAB849B}"/>
              </a:ext>
            </a:extLst>
          </p:cNvPr>
          <p:cNvSpPr txBox="1">
            <a:spLocks/>
          </p:cNvSpPr>
          <p:nvPr userDrawn="1"/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19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292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4375" indent="-1714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13C4F1-36D1-45A6-AE27-272B3FF72BFB}"/>
              </a:ext>
            </a:extLst>
          </p:cNvPr>
          <p:cNvSpPr txBox="1">
            <a:spLocks/>
          </p:cNvSpPr>
          <p:nvPr userDrawn="1"/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7" r:id="rId9"/>
    <p:sldLayoutId id="2147483650" r:id="rId10"/>
    <p:sldLayoutId id="2147483673" r:id="rId11"/>
    <p:sldLayoutId id="2147483655" r:id="rId12"/>
    <p:sldLayoutId id="2147483675" r:id="rId13"/>
    <p:sldLayoutId id="2147483651" r:id="rId14"/>
    <p:sldLayoutId id="2147483652" r:id="rId15"/>
    <p:sldLayoutId id="2147483676" r:id="rId16"/>
    <p:sldLayoutId id="2147483654" r:id="rId17"/>
    <p:sldLayoutId id="2147483662" r:id="rId18"/>
    <p:sldLayoutId id="2147483678" r:id="rId19"/>
    <p:sldLayoutId id="2147483679" r:id="rId20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3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3.ti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3.t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29839" y="1241987"/>
            <a:ext cx="5047072" cy="1569660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startgesprek</a:t>
            </a:r>
            <a:r>
              <a:rPr lang="en-US" dirty="0"/>
              <a:t>” – </a:t>
            </a:r>
            <a:br>
              <a:rPr lang="en-US" dirty="0"/>
            </a:br>
            <a:r>
              <a:rPr lang="en-US" dirty="0" err="1"/>
              <a:t>Interactiev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Multi Criteria </a:t>
            </a:r>
            <a:r>
              <a:rPr lang="en-US" dirty="0" err="1"/>
              <a:t>Analyse</a:t>
            </a:r>
            <a:r>
              <a:rPr lang="en-US" dirty="0"/>
              <a:t> Tool</a:t>
            </a:r>
            <a:endParaRPr lang="nl-NL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8772" y="3404068"/>
            <a:ext cx="3546663" cy="1109343"/>
          </a:xfrm>
        </p:spPr>
        <p:txBody>
          <a:bodyPr/>
          <a:lstStyle/>
          <a:p>
            <a:r>
              <a:rPr lang="en-US" dirty="0"/>
              <a:t>Bayram Gürel</a:t>
            </a:r>
          </a:p>
          <a:p>
            <a:r>
              <a:rPr lang="en-US" dirty="0"/>
              <a:t>Thijs Oosterhuis</a:t>
            </a:r>
          </a:p>
          <a:p>
            <a:r>
              <a:rPr lang="en-US" dirty="0"/>
              <a:t>TU Twente</a:t>
            </a:r>
          </a:p>
          <a:p>
            <a:r>
              <a:rPr lang="en-US" dirty="0"/>
              <a:t>DG-ZHPL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ndertitel 1">
            <a:extLst>
              <a:ext uri="{FF2B5EF4-FFF2-40B4-BE49-F238E27FC236}">
                <a16:creationId xmlns:a16="http://schemas.microsoft.com/office/drawing/2014/main" id="{0ED3F560-B23E-74BC-5313-A897671DA4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1308190"/>
            <a:ext cx="5628132" cy="26394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aar</a:t>
            </a:r>
            <a:r>
              <a:rPr lang="en-US" dirty="0"/>
              <a:t> </a:t>
            </a:r>
            <a:r>
              <a:rPr lang="en-US" dirty="0" err="1"/>
              <a:t>zouden</a:t>
            </a:r>
            <a:r>
              <a:rPr lang="en-US" dirty="0"/>
              <a:t> </a:t>
            </a:r>
            <a:r>
              <a:rPr lang="en-US" dirty="0" err="1"/>
              <a:t>jullie</a:t>
            </a:r>
            <a:r>
              <a:rPr lang="en-US" dirty="0"/>
              <a:t> de tool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gebruiken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elke</a:t>
            </a:r>
            <a:r>
              <a:rPr lang="en-US" dirty="0"/>
              <a:t> </a:t>
            </a:r>
            <a:r>
              <a:rPr lang="en-US" dirty="0" err="1"/>
              <a:t>andere</a:t>
            </a:r>
            <a:r>
              <a:rPr lang="en-US" dirty="0"/>
              <a:t> datasets </a:t>
            </a:r>
            <a:r>
              <a:rPr lang="en-US" dirty="0" err="1"/>
              <a:t>zou</a:t>
            </a:r>
            <a:r>
              <a:rPr lang="en-US" dirty="0"/>
              <a:t> je </a:t>
            </a:r>
            <a:r>
              <a:rPr lang="en-US" dirty="0" err="1"/>
              <a:t>gebruiken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t </a:t>
            </a:r>
            <a:r>
              <a:rPr lang="en-US" dirty="0" err="1"/>
              <a:t>missen</a:t>
            </a:r>
            <a:r>
              <a:rPr lang="en-US" dirty="0"/>
              <a:t> </a:t>
            </a:r>
            <a:r>
              <a:rPr lang="en-US" dirty="0" err="1"/>
              <a:t>jullie</a:t>
            </a:r>
            <a:r>
              <a:rPr lang="en-US" dirty="0"/>
              <a:t> </a:t>
            </a:r>
            <a:r>
              <a:rPr lang="en-US" dirty="0" err="1"/>
              <a:t>nog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Tool</a:t>
            </a:r>
            <a:r>
              <a:rPr lang="en-US" dirty="0"/>
              <a:t>: https://startgesprekpzh.streamlit.app/</a:t>
            </a:r>
          </a:p>
          <a:p>
            <a:r>
              <a:rPr lang="en-US" b="1" dirty="0" err="1"/>
              <a:t>Github</a:t>
            </a:r>
            <a:r>
              <a:rPr lang="en-US" dirty="0"/>
              <a:t>: https://github.com/thijsradijs-pzh/startgesprek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A3BFC39-1651-C73C-FC1B-7A764BEA0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ragen</a:t>
            </a:r>
            <a:r>
              <a:rPr lang="en-US" dirty="0"/>
              <a:t>?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14410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2EA58F1-2195-43CC-75E1-4E5D78589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5240A-516D-DF5A-FC3D-E01AEAFC4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……………….</a:t>
            </a:r>
          </a:p>
        </p:txBody>
      </p:sp>
      <p:pic>
        <p:nvPicPr>
          <p:cNvPr id="4" name="Afbeelding 3" descr="Afbeelding met tekst, kaart, schermopname, Grafische software&#10;&#10;Automatisch gegenereerde beschrijving">
            <a:extLst>
              <a:ext uri="{FF2B5EF4-FFF2-40B4-BE49-F238E27FC236}">
                <a16:creationId xmlns:a16="http://schemas.microsoft.com/office/drawing/2014/main" id="{7A7D9FE7-5105-BF03-244B-C5E2842D5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66" y="414117"/>
            <a:ext cx="9152930" cy="39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242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Afbeelding met tekst, schermopname, diagram, kaart&#10;&#10;Automatisch gegenereerde beschrijving">
            <a:extLst>
              <a:ext uri="{FF2B5EF4-FFF2-40B4-BE49-F238E27FC236}">
                <a16:creationId xmlns:a16="http://schemas.microsoft.com/office/drawing/2014/main" id="{D3A0C9BC-FB21-34C9-4F7E-1D8223EFA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4211"/>
            <a:ext cx="9144000" cy="316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430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ndertitel 1">
            <a:extLst>
              <a:ext uri="{FF2B5EF4-FFF2-40B4-BE49-F238E27FC236}">
                <a16:creationId xmlns:a16="http://schemas.microsoft.com/office/drawing/2014/main" id="{2FD13E0B-1053-A14D-0263-A6DE8AD323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5568" y="1036997"/>
            <a:ext cx="4584309" cy="3778214"/>
          </a:xfrm>
        </p:spPr>
        <p:txBody>
          <a:bodyPr/>
          <a:lstStyle/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easibility 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calability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ffordability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novation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echnical Implementation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sability</a:t>
            </a:r>
          </a:p>
          <a:p>
            <a:pPr marL="342900" lvl="0" indent="-342900" fontAlgn="base">
              <a:spcBef>
                <a:spcPts val="1000"/>
              </a:spcBef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resentation</a:t>
            </a:r>
            <a:r>
              <a:rPr lang="en-GB" sz="1600" kern="1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l-NL" sz="1600" kern="100" dirty="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CDF9F39-53A5-42CD-7554-D2C276053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804" y="328289"/>
            <a:ext cx="4914900" cy="492443"/>
          </a:xfrm>
        </p:spPr>
        <p:txBody>
          <a:bodyPr/>
          <a:lstStyle/>
          <a:p>
            <a:r>
              <a:rPr lang="en-US" dirty="0"/>
              <a:t>Hackathon Criteria</a:t>
            </a:r>
            <a:br>
              <a:rPr lang="en-US" dirty="0"/>
            </a:br>
            <a:endParaRPr lang="nl-NL" dirty="0"/>
          </a:p>
        </p:txBody>
      </p:sp>
      <p:pic>
        <p:nvPicPr>
          <p:cNvPr id="2052" name="Picture 4" descr="Ministerie van IenW zoekt ondernemers en studenten voor geodata hackathon |  Spaceoffice.nl">
            <a:extLst>
              <a:ext uri="{FF2B5EF4-FFF2-40B4-BE49-F238E27FC236}">
                <a16:creationId xmlns:a16="http://schemas.microsoft.com/office/drawing/2014/main" id="{967BF026-C423-B57F-6BA8-78ABF2FBC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00" y="1392701"/>
            <a:ext cx="5743100" cy="2991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9001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Afbeelding met tekst, schermopname, diagram, kaart&#10;&#10;Automatisch gegenereerde beschrijving">
            <a:extLst>
              <a:ext uri="{FF2B5EF4-FFF2-40B4-BE49-F238E27FC236}">
                <a16:creationId xmlns:a16="http://schemas.microsoft.com/office/drawing/2014/main" id="{D3A0C9BC-FB21-34C9-4F7E-1D8223EFA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91437"/>
            <a:ext cx="9144000" cy="316062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20E6BC0-1FE1-355C-8643-F7CC7CBEE7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3675"/>
            <a:ext cx="9144000" cy="4756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16408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5A3661A5-C52A-4B1E-9D16-F8E08D3079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8F835ED-B603-4B33-9DDF-288517A3075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9034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0FFEC7AF-993A-D045-D221-F5476CD259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453" y="2051439"/>
            <a:ext cx="7837488" cy="202806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dirty="0">
                <a:ea typeface="Calibri" panose="020F0502020204030204" pitchFamily="34" charset="0"/>
              </a:rPr>
              <a:t>Hoe daarin hulp te bieden?</a:t>
            </a:r>
          </a:p>
          <a:p>
            <a:r>
              <a:rPr lang="nl-NL" dirty="0" err="1">
                <a:ea typeface="Calibri" panose="020F0502020204030204" pitchFamily="34" charset="0"/>
              </a:rPr>
              <a:t>Tooling</a:t>
            </a:r>
            <a:r>
              <a:rPr lang="nl-NL" dirty="0">
                <a:ea typeface="Calibri" panose="020F0502020204030204" pitchFamily="34" charset="0"/>
              </a:rPr>
              <a:t> moet makkelijk zijn in gebruik</a:t>
            </a:r>
          </a:p>
          <a:p>
            <a:r>
              <a:rPr lang="nl-NL" dirty="0">
                <a:ea typeface="Calibri" panose="020F0502020204030204" pitchFamily="34" charset="0"/>
              </a:rPr>
              <a:t>Visuele inzichten</a:t>
            </a:r>
          </a:p>
          <a:p>
            <a:r>
              <a:rPr lang="nl-NL" dirty="0" err="1">
                <a:ea typeface="Calibri" panose="020F0502020204030204" pitchFamily="34" charset="0"/>
              </a:rPr>
              <a:t>Datagedreven</a:t>
            </a:r>
            <a:r>
              <a:rPr lang="nl-NL" dirty="0">
                <a:ea typeface="Calibri" panose="020F0502020204030204" pitchFamily="34" charset="0"/>
              </a:rPr>
              <a:t> keuzes, op basis van meerdere criteria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A9B9A1-DCBE-D66E-62A8-563A94216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60" y="165285"/>
            <a:ext cx="7837488" cy="492443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US" dirty="0" err="1"/>
              <a:t>Probleem</a:t>
            </a:r>
            <a:br>
              <a:rPr lang="en-US" dirty="0"/>
            </a:br>
            <a:br>
              <a:rPr lang="en-US" dirty="0"/>
            </a:br>
            <a:r>
              <a:rPr lang="nl-NL" sz="1600" b="1" dirty="0">
                <a:ea typeface="Calibri" panose="020F0502020204030204" pitchFamily="34" charset="0"/>
              </a:rPr>
              <a:t>Scenario's maken, berekenen effecten, </a:t>
            </a:r>
            <a:br>
              <a:rPr lang="nl-NL" sz="1600" b="1" dirty="0">
                <a:ea typeface="Calibri" panose="020F0502020204030204" pitchFamily="34" charset="0"/>
              </a:rPr>
            </a:br>
            <a:r>
              <a:rPr lang="nl-NL" sz="1600" b="1" dirty="0">
                <a:solidFill>
                  <a:srgbClr val="000066"/>
                </a:solidFill>
                <a:ea typeface="Calibri" panose="020F0502020204030204" pitchFamily="34" charset="0"/>
              </a:rPr>
              <a:t>Plannen maken wat te doen nieuwe gebieden</a:t>
            </a:r>
            <a:br>
              <a:rPr lang="nl-NL" sz="1600" b="1" dirty="0">
                <a:solidFill>
                  <a:srgbClr val="000066"/>
                </a:solidFill>
                <a:ea typeface="Calibri" panose="020F0502020204030204" pitchFamily="34" charset="0"/>
              </a:rPr>
            </a:br>
            <a:r>
              <a:rPr lang="nl-NL" sz="1600" b="1" dirty="0">
                <a:solidFill>
                  <a:srgbClr val="000066"/>
                </a:solidFill>
                <a:ea typeface="Calibri" panose="020F0502020204030204" pitchFamily="34" charset="0"/>
              </a:rPr>
              <a:t>Gevoelige thema’s die heersen in de provincie</a:t>
            </a:r>
            <a:br>
              <a:rPr lang="nl-NL" sz="1600" b="1" dirty="0">
                <a:solidFill>
                  <a:srgbClr val="000066"/>
                </a:solidFill>
                <a:ea typeface="Calibri" panose="020F0502020204030204" pitchFamily="34" charset="0"/>
              </a:rPr>
            </a:br>
            <a:endParaRPr lang="nl-NL" sz="16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1C3578-9112-9DB7-E160-7669EB33AAEC}"/>
              </a:ext>
            </a:extLst>
          </p:cNvPr>
          <p:cNvSpPr txBox="1">
            <a:spLocks/>
          </p:cNvSpPr>
          <p:nvPr/>
        </p:nvSpPr>
        <p:spPr>
          <a:xfrm>
            <a:off x="3704597" y="555484"/>
            <a:ext cx="7771633" cy="55016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628D707-6BC5-1698-2157-E77F7B334435}"/>
              </a:ext>
            </a:extLst>
          </p:cNvPr>
          <p:cNvSpPr txBox="1">
            <a:spLocks/>
          </p:cNvSpPr>
          <p:nvPr/>
        </p:nvSpPr>
        <p:spPr>
          <a:xfrm>
            <a:off x="2598420" y="2499360"/>
            <a:ext cx="4468444" cy="394218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nl-NL" sz="1400" b="1" cap="all" dirty="0">
              <a:solidFill>
                <a:srgbClr val="990000"/>
              </a:solidFill>
              <a:latin typeface="Ubuntu Light" panose="020B0304030602030204" pitchFamily="34" charset="0"/>
            </a:endParaRPr>
          </a:p>
        </p:txBody>
      </p:sp>
      <p:pic>
        <p:nvPicPr>
          <p:cNvPr id="1026" name="Picture 2" descr="Amsterdam bouwt stadswijk zo groot als ...">
            <a:extLst>
              <a:ext uri="{FF2B5EF4-FFF2-40B4-BE49-F238E27FC236}">
                <a16:creationId xmlns:a16="http://schemas.microsoft.com/office/drawing/2014/main" id="{BDE9DB0A-0CB4-E5C6-6CED-CB1012816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489" y="115755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asplaats of tankplaats aanleggen ...">
            <a:extLst>
              <a:ext uri="{FF2B5EF4-FFF2-40B4-BE49-F238E27FC236}">
                <a16:creationId xmlns:a16="http://schemas.microsoft.com/office/drawing/2014/main" id="{2C963A26-BBA2-504B-86D4-A046A97EC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840" y="1325261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ieuwbouw Haarlem projectoverzicht">
            <a:extLst>
              <a:ext uri="{FF2B5EF4-FFF2-40B4-BE49-F238E27FC236}">
                <a16:creationId xmlns:a16="http://schemas.microsoft.com/office/drawing/2014/main" id="{2F7B2AA8-50E7-C233-71D2-7DE09E6F4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580" y="2644578"/>
            <a:ext cx="2514600" cy="181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9422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27389C-BC11-84D4-1D00-3171DA58B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: Multi Criteria </a:t>
            </a:r>
            <a:r>
              <a:rPr lang="en-US" dirty="0" err="1"/>
              <a:t>Analyse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6E30BF6-8762-4A0C-D2BC-8CCD5D3282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535430"/>
            <a:ext cx="7837488" cy="3139679"/>
          </a:xfrm>
        </p:spPr>
        <p:txBody>
          <a:bodyPr/>
          <a:lstStyle/>
          <a:p>
            <a:pPr rtl="0">
              <a:buFont typeface="Arial" panose="020B0604020202020204" pitchFamily="34" charset="0"/>
              <a:buChar char="•"/>
            </a:pPr>
            <a:r>
              <a:rPr lang="nl-NL" dirty="0"/>
              <a:t>Het helpen van de gebiedsmanager/beleidsmedewerker in hun</a:t>
            </a:r>
          </a:p>
          <a:p>
            <a:pPr marL="0" indent="0" rtl="0">
              <a:buNone/>
            </a:pPr>
            <a:r>
              <a:rPr lang="nl-NL" dirty="0"/>
              <a:t>    gesprekken met stakeholders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nl-NL" dirty="0"/>
              <a:t>Een eerste stap maken in de uitvoering van een maatregel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nl-NL" dirty="0"/>
              <a:t>Data gebruiken om een gesprek te starten</a:t>
            </a:r>
          </a:p>
          <a:p>
            <a:endParaRPr lang="nl-NL" dirty="0"/>
          </a:p>
        </p:txBody>
      </p:sp>
      <p:pic>
        <p:nvPicPr>
          <p:cNvPr id="16" name="Afbeelding 15" descr="Afbeelding met tekst, kaart, schermopname&#10;&#10;Automatisch gegenereerde beschrijving">
            <a:extLst>
              <a:ext uri="{FF2B5EF4-FFF2-40B4-BE49-F238E27FC236}">
                <a16:creationId xmlns:a16="http://schemas.microsoft.com/office/drawing/2014/main" id="{7D577913-EB2A-8302-724A-E63983BE1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8192" y="3177767"/>
            <a:ext cx="3482162" cy="1497342"/>
          </a:xfrm>
          <a:prstGeom prst="rect">
            <a:avLst/>
          </a:prstGeom>
        </p:spPr>
      </p:pic>
      <p:pic>
        <p:nvPicPr>
          <p:cNvPr id="17" name="Afbeelding 16" descr="Schema mestvergister">
            <a:extLst>
              <a:ext uri="{FF2B5EF4-FFF2-40B4-BE49-F238E27FC236}">
                <a16:creationId xmlns:a16="http://schemas.microsoft.com/office/drawing/2014/main" id="{A6DA4C2D-FDE0-61AE-8ED3-9C9A1D284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5393" y="21980"/>
            <a:ext cx="3132133" cy="1629973"/>
          </a:xfrm>
          <a:prstGeom prst="rect">
            <a:avLst/>
          </a:prstGeom>
        </p:spPr>
      </p:pic>
      <p:pic>
        <p:nvPicPr>
          <p:cNvPr id="2050" name="Picture 2" descr="University of Twente Logo PNG Vector ...">
            <a:extLst>
              <a:ext uri="{FF2B5EF4-FFF2-40B4-BE49-F238E27FC236}">
                <a16:creationId xmlns:a16="http://schemas.microsoft.com/office/drawing/2014/main" id="{5474A971-364F-488F-0BBB-425C19967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9538" y="1956707"/>
            <a:ext cx="28575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157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Schema mestvergister">
            <a:extLst>
              <a:ext uri="{FF2B5EF4-FFF2-40B4-BE49-F238E27FC236}">
                <a16:creationId xmlns:a16="http://schemas.microsoft.com/office/drawing/2014/main" id="{0F92EC95-5BCE-9248-C197-6BAFF47A2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395" y="292810"/>
            <a:ext cx="7880228" cy="4115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556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ADE7526-2E3E-C528-BE96-E0719FA85D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499" y="1428750"/>
            <a:ext cx="3916800" cy="28044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Ver </a:t>
            </a:r>
            <a:r>
              <a:rPr lang="en-US" dirty="0" err="1"/>
              <a:t>weg</a:t>
            </a:r>
            <a:r>
              <a:rPr lang="en-US" dirty="0"/>
              <a:t> van </a:t>
            </a:r>
            <a:r>
              <a:rPr lang="en-US" dirty="0" err="1"/>
              <a:t>natuur</a:t>
            </a:r>
            <a:endParaRPr lang="en-US"/>
          </a:p>
          <a:p>
            <a:pPr>
              <a:spcAft>
                <a:spcPts val="600"/>
              </a:spcAft>
            </a:pPr>
            <a:r>
              <a:rPr lang="en-US" dirty="0"/>
              <a:t>Ver </a:t>
            </a:r>
            <a:r>
              <a:rPr lang="en-US" dirty="0" err="1"/>
              <a:t>weg</a:t>
            </a:r>
            <a:r>
              <a:rPr lang="en-US" dirty="0"/>
              <a:t> van </a:t>
            </a:r>
            <a:r>
              <a:rPr lang="en-US" dirty="0" err="1"/>
              <a:t>steden</a:t>
            </a:r>
            <a:endParaRPr lang="en-US"/>
          </a:p>
          <a:p>
            <a:pPr>
              <a:spcAft>
                <a:spcPts val="600"/>
              </a:spcAft>
            </a:pPr>
            <a:r>
              <a:rPr lang="en-US" dirty="0"/>
              <a:t>Ver </a:t>
            </a:r>
            <a:r>
              <a:rPr lang="en-US" dirty="0" err="1"/>
              <a:t>weg</a:t>
            </a:r>
            <a:r>
              <a:rPr lang="en-US" dirty="0"/>
              <a:t> van water</a:t>
            </a:r>
            <a:endParaRPr lang="en-US"/>
          </a:p>
          <a:p>
            <a:pPr>
              <a:spcAft>
                <a:spcPts val="600"/>
              </a:spcAft>
            </a:pPr>
            <a:r>
              <a:rPr lang="en-US" dirty="0" err="1"/>
              <a:t>Dichtbij</a:t>
            </a:r>
            <a:r>
              <a:rPr lang="en-US" dirty="0"/>
              <a:t> </a:t>
            </a:r>
            <a:r>
              <a:rPr lang="en-US" dirty="0" err="1"/>
              <a:t>wegen</a:t>
            </a:r>
            <a:endParaRPr lang="en-US"/>
          </a:p>
          <a:p>
            <a:pPr>
              <a:spcAft>
                <a:spcPts val="600"/>
              </a:spcAft>
            </a:pPr>
            <a:r>
              <a:rPr lang="en-US" dirty="0" err="1"/>
              <a:t>Dichtbij</a:t>
            </a:r>
            <a:r>
              <a:rPr lang="en-US" dirty="0"/>
              <a:t> </a:t>
            </a:r>
            <a:r>
              <a:rPr lang="en-US" dirty="0" err="1"/>
              <a:t>industrie</a:t>
            </a:r>
            <a:endParaRPr lang="en-US"/>
          </a:p>
          <a:p>
            <a:pPr>
              <a:spcAft>
                <a:spcPts val="600"/>
              </a:spcAft>
            </a:pPr>
            <a:r>
              <a:rPr lang="en-US" dirty="0" err="1"/>
              <a:t>Dichtbij</a:t>
            </a:r>
            <a:r>
              <a:rPr lang="en-US" dirty="0"/>
              <a:t> </a:t>
            </a:r>
            <a:r>
              <a:rPr lang="en-US" dirty="0" err="1"/>
              <a:t>landbouw</a:t>
            </a:r>
            <a:r>
              <a:rPr lang="en-US" dirty="0"/>
              <a:t>/</a:t>
            </a:r>
            <a:r>
              <a:rPr lang="en-US" dirty="0" err="1"/>
              <a:t>boerderijen</a:t>
            </a:r>
            <a:endParaRPr lang="en-US"/>
          </a:p>
        </p:txBody>
      </p:sp>
      <p:pic>
        <p:nvPicPr>
          <p:cNvPr id="15" name="Afbeelding 14" descr="Afbeelding met gras, gebouw, buitenshuis, wolk&#10;&#10;Automatisch gegenereerde beschrijving">
            <a:extLst>
              <a:ext uri="{FF2B5EF4-FFF2-40B4-BE49-F238E27FC236}">
                <a16:creationId xmlns:a16="http://schemas.microsoft.com/office/drawing/2014/main" id="{C50D70B5-8F13-A79E-8259-D34E83B370A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1933" r="-4" b="2193"/>
          <a:stretch/>
        </p:blipFill>
        <p:spPr>
          <a:xfrm>
            <a:off x="4809671" y="1428750"/>
            <a:ext cx="3916800" cy="2804400"/>
          </a:xfrm>
          <a:prstGeom prst="rect">
            <a:avLst/>
          </a:prstGeom>
          <a:noFill/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442F8F2D-9BBF-556A-6899-365B8683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01083"/>
            <a:ext cx="7837488" cy="49244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700"/>
              <a:t>Criteria </a:t>
            </a:r>
            <a:r>
              <a:rPr lang="en-US" sz="2700" err="1"/>
              <a:t>voor</a:t>
            </a:r>
            <a:r>
              <a:rPr lang="en-US" sz="2700"/>
              <a:t> </a:t>
            </a:r>
            <a:r>
              <a:rPr lang="en-US" sz="2700" err="1"/>
              <a:t>biovergister</a:t>
            </a:r>
            <a:r>
              <a:rPr lang="en-US" sz="2700"/>
              <a:t>:</a:t>
            </a:r>
            <a:endParaRPr lang="nl-NL" sz="2700"/>
          </a:p>
        </p:txBody>
      </p:sp>
      <p:sp>
        <p:nvSpPr>
          <p:cNvPr id="3" name="Tijdelijke aanduiding voor dianummer 2" hidden="1">
            <a:extLst>
              <a:ext uri="{FF2B5EF4-FFF2-40B4-BE49-F238E27FC236}">
                <a16:creationId xmlns:a16="http://schemas.microsoft.com/office/drawing/2014/main" id="{4AEE7402-E1DD-B60F-C2CB-86CBB14ABE2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275388" y="4794083"/>
            <a:ext cx="2133600" cy="138499"/>
          </a:xfrm>
        </p:spPr>
        <p:txBody>
          <a:bodyPr/>
          <a:lstStyle/>
          <a:p>
            <a:pPr algn="r">
              <a:spcAft>
                <a:spcPts val="600"/>
              </a:spcAft>
            </a:pPr>
            <a:fld id="{52CD5E70-B072-4ABF-98D2-981DEBBF7F7D}" type="slidenum">
              <a:rPr lang="nl-NL" smtClean="0"/>
              <a:pPr algn="r">
                <a:spcAft>
                  <a:spcPts val="600"/>
                </a:spcAft>
              </a:pPr>
              <a:t>4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621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71FA137-B4D8-5594-EBB4-2A48A665DC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1308190"/>
            <a:ext cx="5030724" cy="300877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ata </a:t>
            </a:r>
            <a:r>
              <a:rPr lang="en-US" dirty="0" err="1"/>
              <a:t>vergelijken</a:t>
            </a:r>
            <a:r>
              <a:rPr lang="en-US" dirty="0"/>
              <a:t> met de Multi-Criteria </a:t>
            </a:r>
            <a:r>
              <a:rPr lang="en-US" dirty="0" err="1"/>
              <a:t>Analyse</a:t>
            </a:r>
            <a:r>
              <a:rPr lang="en-US" dirty="0"/>
              <a:t> tool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1. H3 hexagonen gevuld met waardes: </a:t>
            </a:r>
            <a:r>
              <a:rPr lang="nl-NL" b="1" dirty="0"/>
              <a:t>Corine Land Cover</a:t>
            </a:r>
          </a:p>
          <a:p>
            <a:r>
              <a:rPr lang="nl-NL" dirty="0"/>
              <a:t>2. Genormaliseerd naar behoefte (Dichtbij / ver)</a:t>
            </a:r>
          </a:p>
          <a:p>
            <a:r>
              <a:rPr lang="nl-NL" sz="1600" dirty="0"/>
              <a:t>3. Waardes doorgeven aan </a:t>
            </a:r>
            <a:r>
              <a:rPr lang="nl-NL" sz="1600" dirty="0" err="1"/>
              <a:t>spatial</a:t>
            </a:r>
            <a:r>
              <a:rPr lang="nl-NL" sz="1600" dirty="0"/>
              <a:t> clustering algoritme</a:t>
            </a:r>
            <a:br>
              <a:rPr lang="nl-NL" sz="1600" dirty="0"/>
            </a:br>
            <a:br>
              <a:rPr lang="nl-NL" dirty="0"/>
            </a:br>
            <a:endParaRPr lang="nl-NL" dirty="0"/>
          </a:p>
          <a:p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9706D-7548-29C3-C3E5-15B76E4BD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e </a:t>
            </a:r>
            <a:r>
              <a:rPr lang="en-US" dirty="0" err="1"/>
              <a:t>dit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analyseren</a:t>
            </a:r>
            <a:r>
              <a:rPr lang="en-US" dirty="0"/>
              <a:t>?</a:t>
            </a: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9AFF14E2-66BB-40A5-D4B2-609D451248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1922" y="2919341"/>
            <a:ext cx="2848279" cy="1888236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7637F422-30A2-2E50-3D6C-2353535158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400" y="772554"/>
            <a:ext cx="3363500" cy="191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897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FD2CAD8-D6AA-4A29-AD78-A60402756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1812" y="197489"/>
            <a:ext cx="4659356" cy="583200"/>
          </a:xfrm>
        </p:spPr>
        <p:txBody>
          <a:bodyPr/>
          <a:lstStyle/>
          <a:p>
            <a:r>
              <a:rPr lang="en-US" dirty="0"/>
              <a:t>H3 </a:t>
            </a:r>
            <a:r>
              <a:rPr lang="en-US" dirty="0" err="1"/>
              <a:t>Hexagonen</a:t>
            </a:r>
            <a:endParaRPr lang="nl-NL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E5A615C8-2A23-4037-95DB-FB54BECE13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911" y="1704975"/>
            <a:ext cx="573088" cy="3438525"/>
          </a:xfrm>
          <a:prstGeom prst="rect">
            <a:avLst/>
          </a:prstGeom>
        </p:spPr>
      </p:pic>
      <p:pic>
        <p:nvPicPr>
          <p:cNvPr id="1028" name="Picture 4" descr="Uber H3 for Data Analysis with Python | by Eshwaran Venkat | Towards Data  Science">
            <a:extLst>
              <a:ext uri="{FF2B5EF4-FFF2-40B4-BE49-F238E27FC236}">
                <a16:creationId xmlns:a16="http://schemas.microsoft.com/office/drawing/2014/main" id="{E489175B-EC8E-791C-78E9-624496BB6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677" y="926152"/>
            <a:ext cx="3832367" cy="3211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0C81C8E9-0DA4-66B3-C537-4C4B836C3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1098" y="1961206"/>
            <a:ext cx="2403138" cy="2518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uber/h3-js · GitHub">
            <a:extLst>
              <a:ext uri="{FF2B5EF4-FFF2-40B4-BE49-F238E27FC236}">
                <a16:creationId xmlns:a16="http://schemas.microsoft.com/office/drawing/2014/main" id="{71A72756-6354-BADB-8BB9-2E297A748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983" y="52026"/>
            <a:ext cx="3133725" cy="145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6A175566-1C25-F9D3-59BF-7F7BBA2BFA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99290" y="1509351"/>
            <a:ext cx="1409601" cy="166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066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969EDB-EE8E-4BD6-B931-457A7A3E0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normaliseerd naar behoefte (close / far)</a:t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F12C61C-D37A-4F79-87A9-88CF088287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dirty="0"/>
              <a:t>Normalisatie: (</a:t>
            </a:r>
            <a:r>
              <a:rPr lang="nl-NL" dirty="0" err="1"/>
              <a:t>df_array</a:t>
            </a:r>
            <a:r>
              <a:rPr lang="nl-NL" dirty="0"/>
              <a:t> - </a:t>
            </a:r>
            <a:r>
              <a:rPr lang="nl-NL" dirty="0" err="1"/>
              <a:t>df_array.min</a:t>
            </a:r>
            <a:r>
              <a:rPr lang="nl-NL" dirty="0"/>
              <a:t>()) / (</a:t>
            </a:r>
            <a:r>
              <a:rPr lang="nl-NL" dirty="0" err="1"/>
              <a:t>df_array.max</a:t>
            </a:r>
            <a:r>
              <a:rPr lang="nl-NL" dirty="0"/>
              <a:t>() - </a:t>
            </a:r>
            <a:r>
              <a:rPr lang="nl-NL" dirty="0" err="1"/>
              <a:t>df_array.min</a:t>
            </a:r>
            <a:r>
              <a:rPr lang="nl-NL" dirty="0"/>
              <a:t>())</a:t>
            </a:r>
          </a:p>
          <a:p>
            <a:pPr marL="0" indent="0">
              <a:buNone/>
            </a:pPr>
            <a:r>
              <a:rPr lang="nl-NL" dirty="0"/>
              <a:t>Reverse normalisatie: 1 - </a:t>
            </a:r>
            <a:r>
              <a:rPr lang="nl-NL" dirty="0" err="1"/>
              <a:t>genormaliseerde_waarde</a:t>
            </a:r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Simpel gezegd: </a:t>
            </a:r>
            <a:r>
              <a:rPr lang="nl-NL" b="1" dirty="0"/>
              <a:t>Voor het type “far"</a:t>
            </a:r>
            <a:r>
              <a:rPr lang="nl-NL" dirty="0"/>
              <a:t> worden hogere getallen kleiner gemaakt, en kleinere getallen groter, maar geen waarde gaat onder 0.</a:t>
            </a:r>
          </a:p>
        </p:txBody>
      </p:sp>
    </p:spTree>
    <p:extLst>
      <p:ext uri="{BB962C8B-B14F-4D97-AF65-F5344CB8AC3E}">
        <p14:creationId xmlns:p14="http://schemas.microsoft.com/office/powerpoint/2010/main" val="3850271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694904B-78BB-430E-8BDD-9FC693CAD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103206"/>
            <a:ext cx="8572499" cy="492443"/>
          </a:xfrm>
        </p:spPr>
        <p:txBody>
          <a:bodyPr/>
          <a:lstStyle/>
          <a:p>
            <a:r>
              <a:rPr lang="nl-NL" sz="2800" dirty="0"/>
              <a:t>Moran </a:t>
            </a:r>
            <a:r>
              <a:rPr lang="nl-NL" sz="2800" dirty="0" err="1"/>
              <a:t>Local</a:t>
            </a:r>
            <a:r>
              <a:rPr lang="nl-NL" sz="2800" dirty="0"/>
              <a:t> I </a:t>
            </a:r>
            <a:r>
              <a:rPr lang="nl-NL" sz="2800" dirty="0" err="1"/>
              <a:t>spatial</a:t>
            </a:r>
            <a:r>
              <a:rPr lang="nl-NL" sz="2800" dirty="0"/>
              <a:t> cluster + locatie gedefinieerd</a:t>
            </a:r>
            <a:br>
              <a:rPr lang="nl-NL" sz="2800" dirty="0"/>
            </a:br>
            <a:endParaRPr lang="nl-NL" sz="2800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45A74C43-F2BB-43C0-8AA3-FAC9D79307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911" y="1704975"/>
            <a:ext cx="573088" cy="3438525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A47E4C65-6D61-78F4-7DC8-55D48AD65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624" y="595649"/>
            <a:ext cx="8110026" cy="463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95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ZH_16x9.potx" id="{EAE7A40C-FAA6-4157-BDC8-84FEF4A6CBC5}" vid="{3006CE8F-273C-4C05-A19A-0D341ECBC10E}"/>
    </a:ext>
  </a:extLst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ZH_16x9</Template>
  <TotalTime>2463</TotalTime>
  <Words>310</Words>
  <Application>Microsoft Office PowerPoint</Application>
  <PresentationFormat>Diavoorstelling (16:9)</PresentationFormat>
  <Paragraphs>55</Paragraphs>
  <Slides>15</Slides>
  <Notes>2</Notes>
  <HiddenSlides>4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24" baseType="lpstr">
      <vt:lpstr>Arial</vt:lpstr>
      <vt:lpstr>Calibri</vt:lpstr>
      <vt:lpstr>Georgia</vt:lpstr>
      <vt:lpstr>Symbol</vt:lpstr>
      <vt:lpstr>Ubuntu Light</vt:lpstr>
      <vt:lpstr>Verdana</vt:lpstr>
      <vt:lpstr>Wingdings</vt:lpstr>
      <vt:lpstr>Provincie Zuid Holland 16x9</vt:lpstr>
      <vt:lpstr>think-cell Slide</vt:lpstr>
      <vt:lpstr>“Een startgesprek” –  Interactieve  Multi Criteria Analyse Tool</vt:lpstr>
      <vt:lpstr>Probleem  Scenario's maken, berekenen effecten,  Plannen maken wat te doen nieuwe gebieden Gevoelige thema’s die heersen in de provincie </vt:lpstr>
      <vt:lpstr>Tool: Multi Criteria Analyse</vt:lpstr>
      <vt:lpstr>PowerPoint-presentatie</vt:lpstr>
      <vt:lpstr>Criteria voor biovergister:</vt:lpstr>
      <vt:lpstr>Hoe dit te analyseren?</vt:lpstr>
      <vt:lpstr>H3 Hexagonen</vt:lpstr>
      <vt:lpstr>Genormaliseerd naar behoefte (close / far) </vt:lpstr>
      <vt:lpstr>Moran Local I spatial cluster + locatie gedefinieerd </vt:lpstr>
      <vt:lpstr>Vragen?</vt:lpstr>
      <vt:lpstr>……………….</vt:lpstr>
      <vt:lpstr>PowerPoint-presentatie</vt:lpstr>
      <vt:lpstr>Hackathon Criteria </vt:lpstr>
      <vt:lpstr>PowerPoint-presentatie</vt:lpstr>
      <vt:lpstr>PowerPoint-presentati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Dany Post</dc:creator>
  <cp:lastModifiedBy>Thijs Oosterhuis</cp:lastModifiedBy>
  <cp:revision>2</cp:revision>
  <dcterms:created xsi:type="dcterms:W3CDTF">2021-05-26T09:16:54Z</dcterms:created>
  <dcterms:modified xsi:type="dcterms:W3CDTF">2024-09-26T06:53:35Z</dcterms:modified>
</cp:coreProperties>
</file>